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3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5E5E5"/>
    <a:srgbClr val="C60018"/>
    <a:srgbClr val="8D8D8D"/>
    <a:srgbClr val="BDBDBD"/>
    <a:srgbClr val="A20013"/>
    <a:srgbClr val="EB0000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624" y="114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78FD9AF3-DD98-49F5-BF8B-FC56F13A595F}"/>
    <pc:docChg chg="custSel addSld delSld modSld">
      <pc:chgData name="Meyer Raphael (PAR-ES)" userId="79615dfe-ed48-4e74-a40f-4f7b034c1c27" providerId="ADAL" clId="{78FD9AF3-DD98-49F5-BF8B-FC56F13A595F}" dt="2022-03-09T13:58:52.464" v="97" actId="27918"/>
      <pc:docMkLst>
        <pc:docMk/>
      </pc:docMkLst>
      <pc:sldChg chg="del">
        <pc:chgData name="Meyer Raphael (PAR-ES)" userId="79615dfe-ed48-4e74-a40f-4f7b034c1c27" providerId="ADAL" clId="{78FD9AF3-DD98-49F5-BF8B-FC56F13A595F}" dt="2022-03-09T13:45:01.459" v="0" actId="47"/>
        <pc:sldMkLst>
          <pc:docMk/>
          <pc:sldMk cId="2641487227" sldId="271"/>
        </pc:sldMkLst>
      </pc:sldChg>
      <pc:sldChg chg="mod">
        <pc:chgData name="Meyer Raphael (PAR-ES)" userId="79615dfe-ed48-4e74-a40f-4f7b034c1c27" providerId="ADAL" clId="{78FD9AF3-DD98-49F5-BF8B-FC56F13A595F}" dt="2022-03-09T13:50:26.671" v="22" actId="27918"/>
        <pc:sldMkLst>
          <pc:docMk/>
          <pc:sldMk cId="3064315074" sldId="413"/>
        </pc:sldMkLst>
      </pc:sldChg>
      <pc:sldChg chg="modSp add mod">
        <pc:chgData name="Meyer Raphael (PAR-ES)" userId="79615dfe-ed48-4e74-a40f-4f7b034c1c27" providerId="ADAL" clId="{78FD9AF3-DD98-49F5-BF8B-FC56F13A595F}" dt="2022-03-09T13:52:40.046" v="43"/>
        <pc:sldMkLst>
          <pc:docMk/>
          <pc:sldMk cId="1214120989" sldId="414"/>
        </pc:sldMkLst>
        <pc:spChg chg="mod">
          <ac:chgData name="Meyer Raphael (PAR-ES)" userId="79615dfe-ed48-4e74-a40f-4f7b034c1c27" providerId="ADAL" clId="{78FD9AF3-DD98-49F5-BF8B-FC56F13A595F}" dt="2022-03-09T13:51:13.864" v="30" actId="20577"/>
          <ac:spMkLst>
            <pc:docMk/>
            <pc:sldMk cId="1214120989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1:37.128" v="37" actId="20577"/>
          <ac:spMkLst>
            <pc:docMk/>
            <pc:sldMk cId="1214120989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2:40.046" v="43"/>
          <ac:spMkLst>
            <pc:docMk/>
            <pc:sldMk cId="1214120989" sldId="414"/>
            <ac:spMk id="12" creationId="{00D4BB6A-0DD0-4B80-9845-0467B947A6BE}"/>
          </ac:spMkLst>
        </pc:spChg>
      </pc:sldChg>
      <pc:sldChg chg="modSp add del mod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1298817908" sldId="414"/>
        </pc:sldMkLst>
        <pc:spChg chg="mod">
          <ac:chgData name="Meyer Raphael (PAR-ES)" userId="79615dfe-ed48-4e74-a40f-4f7b034c1c27" providerId="ADAL" clId="{78FD9AF3-DD98-49F5-BF8B-FC56F13A595F}" dt="2022-03-09T13:46:41.249" v="4"/>
          <ac:spMkLst>
            <pc:docMk/>
            <pc:sldMk cId="1298817908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47:10.506" v="12" actId="20577"/>
          <ac:spMkLst>
            <pc:docMk/>
            <pc:sldMk cId="1298817908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46:51.898" v="5"/>
          <ac:spMkLst>
            <pc:docMk/>
            <pc:sldMk cId="1298817908" sldId="414"/>
            <ac:spMk id="12" creationId="{00D4BB6A-0DD0-4B80-9845-0467B947A6BE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3764143661" sldId="415"/>
        </pc:sldMkLst>
      </pc:sldChg>
      <pc:sldChg chg="modSp add mod">
        <pc:chgData name="Meyer Raphael (PAR-ES)" userId="79615dfe-ed48-4e74-a40f-4f7b034c1c27" providerId="ADAL" clId="{78FD9AF3-DD98-49F5-BF8B-FC56F13A595F}" dt="2022-03-09T13:55:39.628" v="75" actId="27918"/>
        <pc:sldMkLst>
          <pc:docMk/>
          <pc:sldMk cId="3878003729" sldId="415"/>
        </pc:sldMkLst>
        <pc:spChg chg="mod">
          <ac:chgData name="Meyer Raphael (PAR-ES)" userId="79615dfe-ed48-4e74-a40f-4f7b034c1c27" providerId="ADAL" clId="{78FD9AF3-DD98-49F5-BF8B-FC56F13A595F}" dt="2022-03-09T13:53:38.095" v="48" actId="20577"/>
          <ac:spMkLst>
            <pc:docMk/>
            <pc:sldMk cId="387800372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4:22.863" v="60" actId="20577"/>
          <ac:spMkLst>
            <pc:docMk/>
            <pc:sldMk cId="3878003729" sldId="415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3:49.614" v="49"/>
          <ac:spMkLst>
            <pc:docMk/>
            <pc:sldMk cId="3878003729" sldId="415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4:39.731" v="66" actId="20577"/>
          <ac:spMkLst>
            <pc:docMk/>
            <pc:sldMk cId="3878003729" sldId="415"/>
            <ac:spMk id="13" creationId="{CB2EBD8C-0882-42C3-B5F5-BA01B7BFF2C3}"/>
          </ac:spMkLst>
        </pc:spChg>
      </pc:sldChg>
      <pc:sldChg chg="modSp add mod">
        <pc:chgData name="Meyer Raphael (PAR-ES)" userId="79615dfe-ed48-4e74-a40f-4f7b034c1c27" providerId="ADAL" clId="{78FD9AF3-DD98-49F5-BF8B-FC56F13A595F}" dt="2022-03-09T13:58:52.464" v="97" actId="27918"/>
        <pc:sldMkLst>
          <pc:docMk/>
          <pc:sldMk cId="2150380132" sldId="416"/>
        </pc:sldMkLst>
        <pc:spChg chg="mod">
          <ac:chgData name="Meyer Raphael (PAR-ES)" userId="79615dfe-ed48-4e74-a40f-4f7b034c1c27" providerId="ADAL" clId="{78FD9AF3-DD98-49F5-BF8B-FC56F13A595F}" dt="2022-03-09T13:56:38.884" v="80" actId="20577"/>
          <ac:spMkLst>
            <pc:docMk/>
            <pc:sldMk cId="215038013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7:02.897" v="86" actId="20577"/>
          <ac:spMkLst>
            <pc:docMk/>
            <pc:sldMk cId="2150380132" sldId="416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6:50.781" v="81"/>
          <ac:spMkLst>
            <pc:docMk/>
            <pc:sldMk cId="2150380132" sldId="416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7:39.484" v="92" actId="20577"/>
          <ac:spMkLst>
            <pc:docMk/>
            <pc:sldMk cId="2150380132" sldId="416"/>
            <ac:spMk id="13" creationId="{CB2EBD8C-0882-42C3-B5F5-BA01B7BFF2C3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2931763869" sldId="41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B3134076-241D-49A8-BDE6-7DC2169DB06A}"/>
    <pc:docChg chg="modSld">
      <pc:chgData name="Meyer Raphael (PAR-ES)" userId="79615dfe-ed48-4e74-a40f-4f7b034c1c27" providerId="ADAL" clId="{B3134076-241D-49A8-BDE6-7DC2169DB06A}" dt="2021-11-30T12:10:05.292" v="4" actId="27918"/>
      <pc:docMkLst>
        <pc:docMk/>
      </pc:docMkLst>
      <pc:sldChg chg="mod">
        <pc:chgData name="Meyer Raphael (PAR-ES)" userId="79615dfe-ed48-4e74-a40f-4f7b034c1c27" providerId="ADAL" clId="{B3134076-241D-49A8-BDE6-7DC2169DB06A}" dt="2021-11-30T12:10:05.292" v="4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Weigel Stefan (PAR-EPS)" userId="fd3b2067-2981-4ad8-bf3a-d2e1004e4fa8" providerId="ADAL" clId="{8C021AA3-F101-48AD-A8CF-554801ACB00F}"/>
    <pc:docChg chg="modSld">
      <pc:chgData name="Weigel Stefan (PAR-EPS)" userId="fd3b2067-2981-4ad8-bf3a-d2e1004e4fa8" providerId="ADAL" clId="{8C021AA3-F101-48AD-A8CF-554801ACB00F}" dt="2024-02-28T12:03:11.414" v="75" actId="27918"/>
      <pc:docMkLst>
        <pc:docMk/>
      </pc:docMkLst>
      <pc:sldChg chg="modSp mod">
        <pc:chgData name="Weigel Stefan (PAR-EPS)" userId="fd3b2067-2981-4ad8-bf3a-d2e1004e4fa8" providerId="ADAL" clId="{8C021AA3-F101-48AD-A8CF-554801ACB00F}" dt="2024-02-28T12:03:11.414" v="75" actId="27918"/>
        <pc:sldMkLst>
          <pc:docMk/>
          <pc:sldMk cId="3064315074" sldId="413"/>
        </pc:sldMkLst>
        <pc:spChg chg="mod">
          <ac:chgData name="Weigel Stefan (PAR-EPS)" userId="fd3b2067-2981-4ad8-bf3a-d2e1004e4fa8" providerId="ADAL" clId="{8C021AA3-F101-48AD-A8CF-554801ACB00F}" dt="2024-02-02T09:11:57.019" v="41" actId="20577"/>
          <ac:spMkLst>
            <pc:docMk/>
            <pc:sldMk cId="3064315074" sldId="413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8C021AA3-F101-48AD-A8CF-554801ACB00F}" dt="2024-02-13T15:48:02.866" v="69" actId="20577"/>
          <ac:spMkLst>
            <pc:docMk/>
            <pc:sldMk cId="3064315074" sldId="413"/>
            <ac:spMk id="11" creationId="{51A102DA-4F4E-474F-9E16-1E7F70764A16}"/>
          </ac:spMkLst>
        </pc:spChg>
      </pc:sldChg>
    </pc:docChg>
  </pc:docChgLst>
  <pc:docChgLst>
    <pc:chgData name="Meyer Raphael (PAR-ES)" userId="79615dfe-ed48-4e74-a40f-4f7b034c1c27" providerId="ADAL" clId="{CC037D72-AD94-45AC-86A2-5E4959515F3C}"/>
    <pc:docChg chg="custSel modSld">
      <pc:chgData name="Meyer Raphael (PAR-ES)" userId="79615dfe-ed48-4e74-a40f-4f7b034c1c27" providerId="ADAL" clId="{CC037D72-AD94-45AC-86A2-5E4959515F3C}" dt="2021-11-16T15:17:44.639" v="188"/>
      <pc:docMkLst>
        <pc:docMk/>
      </pc:docMkLst>
      <pc:sldChg chg="addSp delSp modSp mod">
        <pc:chgData name="Meyer Raphael (PAR-ES)" userId="79615dfe-ed48-4e74-a40f-4f7b034c1c27" providerId="ADAL" clId="{CC037D72-AD94-45AC-86A2-5E4959515F3C}" dt="2021-11-16T15:17:44.639" v="188"/>
        <pc:sldMkLst>
          <pc:docMk/>
          <pc:sldMk cId="2641487227" sldId="271"/>
        </pc:sldMkLst>
        <pc:spChg chg="add del mod">
          <ac:chgData name="Meyer Raphael (PAR-ES)" userId="79615dfe-ed48-4e74-a40f-4f7b034c1c27" providerId="ADAL" clId="{CC037D72-AD94-45AC-86A2-5E4959515F3C}" dt="2021-11-16T15:02:17.381" v="128" actId="478"/>
          <ac:spMkLst>
            <pc:docMk/>
            <pc:sldMk cId="2641487227" sldId="271"/>
            <ac:spMk id="3" creationId="{75819DB9-B5A3-47E4-858A-DC0D2C5DA1C7}"/>
          </ac:spMkLst>
        </pc:spChg>
        <pc:spChg chg="mod">
          <ac:chgData name="Meyer Raphael (PAR-ES)" userId="79615dfe-ed48-4e74-a40f-4f7b034c1c27" providerId="ADAL" clId="{CC037D72-AD94-45AC-86A2-5E4959515F3C}" dt="2021-11-16T14:49:37.120" v="90" actId="20577"/>
          <ac:spMkLst>
            <pc:docMk/>
            <pc:sldMk cId="2641487227" sldId="271"/>
            <ac:spMk id="6" creationId="{0148E78D-7FBB-46BC-A7E3-0EFE6D9E4679}"/>
          </ac:spMkLst>
        </pc:spChg>
        <pc:spChg chg="add del mod">
          <ac:chgData name="Meyer Raphael (PAR-ES)" userId="79615dfe-ed48-4e74-a40f-4f7b034c1c27" providerId="ADAL" clId="{CC037D72-AD94-45AC-86A2-5E4959515F3C}" dt="2021-11-16T15:02:14.806" v="127" actId="478"/>
          <ac:spMkLst>
            <pc:docMk/>
            <pc:sldMk cId="2641487227" sldId="271"/>
            <ac:spMk id="8" creationId="{03CE64C9-F04E-48CE-8658-CF9D275647F6}"/>
          </ac:spMkLst>
        </pc:spChg>
        <pc:spChg chg="mod">
          <ac:chgData name="Meyer Raphael (PAR-ES)" userId="79615dfe-ed48-4e74-a40f-4f7b034c1c27" providerId="ADAL" clId="{CC037D72-AD94-45AC-86A2-5E4959515F3C}" dt="2021-11-16T14:53:39.256" v="100" actId="20577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CC037D72-AD94-45AC-86A2-5E4959515F3C}" dt="2021-11-16T15:17:44.639" v="188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Weigel Stefan (PAR-ES)" userId="fd3b2067-2981-4ad8-bf3a-d2e1004e4fa8" providerId="ADAL" clId="{5C843503-A1E1-438D-989D-5B4429BAA24C}"/>
    <pc:docChg chg="undo custSel modSld">
      <pc:chgData name="Weigel Stefan (PAR-ES)" userId="fd3b2067-2981-4ad8-bf3a-d2e1004e4fa8" providerId="ADAL" clId="{5C843503-A1E1-438D-989D-5B4429BAA24C}" dt="2023-01-31T18:11:43.898" v="45" actId="20577"/>
      <pc:docMkLst>
        <pc:docMk/>
      </pc:docMkLst>
      <pc:sldChg chg="modSp mod">
        <pc:chgData name="Weigel Stefan (PAR-ES)" userId="fd3b2067-2981-4ad8-bf3a-d2e1004e4fa8" providerId="ADAL" clId="{5C843503-A1E1-438D-989D-5B4429BAA24C}" dt="2023-01-31T18:11:43.898" v="45" actId="20577"/>
        <pc:sldMkLst>
          <pc:docMk/>
          <pc:sldMk cId="3064315074" sldId="413"/>
        </pc:sldMkLst>
        <pc:spChg chg="mod">
          <ac:chgData name="Weigel Stefan (PAR-ES)" userId="fd3b2067-2981-4ad8-bf3a-d2e1004e4fa8" providerId="ADAL" clId="{5C843503-A1E1-438D-989D-5B4429BAA24C}" dt="2023-01-31T18:11:43.898" v="45" actId="20577"/>
          <ac:spMkLst>
            <pc:docMk/>
            <pc:sldMk cId="3064315074" sldId="413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5C843503-A1E1-438D-989D-5B4429BAA24C}" dt="2023-01-31T18:11:29.071" v="43" actId="20577"/>
          <ac:spMkLst>
            <pc:docMk/>
            <pc:sldMk cId="3064315074" sldId="413"/>
            <ac:spMk id="11" creationId="{51A102DA-4F4E-474F-9E16-1E7F70764A16}"/>
          </ac:spMkLst>
        </pc:spChg>
        <pc:graphicFrameChg chg="mod">
          <ac:chgData name="Weigel Stefan (PAR-ES)" userId="fd3b2067-2981-4ad8-bf3a-d2e1004e4fa8" providerId="ADAL" clId="{5C843503-A1E1-438D-989D-5B4429BAA24C}" dt="2023-01-31T18:10:42.681" v="31"/>
          <ac:graphicFrameMkLst>
            <pc:docMk/>
            <pc:sldMk cId="3064315074" sldId="41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AD707207-28DB-44DB-BFE3-BB16A1A03D6C}"/>
    <pc:docChg chg="addSld delSld modSld">
      <pc:chgData name="Meyer Raphael (PAR-ES)" userId="79615dfe-ed48-4e74-a40f-4f7b034c1c27" providerId="ADAL" clId="{AD707207-28DB-44DB-BFE3-BB16A1A03D6C}" dt="2021-11-08T12:03:59.863" v="4" actId="47"/>
      <pc:docMkLst>
        <pc:docMk/>
      </pc:docMkLst>
      <pc:sldChg chg="del">
        <pc:chgData name="Meyer Raphael (PAR-ES)" userId="79615dfe-ed48-4e74-a40f-4f7b034c1c27" providerId="ADAL" clId="{AD707207-28DB-44DB-BFE3-BB16A1A03D6C}" dt="2021-11-08T12:03:59.863" v="4" actId="47"/>
        <pc:sldMkLst>
          <pc:docMk/>
          <pc:sldMk cId="3808035539" sldId="270"/>
        </pc:sldMkLst>
      </pc:sldChg>
      <pc:sldChg chg="add">
        <pc:chgData name="Meyer Raphael (PAR-ES)" userId="79615dfe-ed48-4e74-a40f-4f7b034c1c27" providerId="ADAL" clId="{AD707207-28DB-44DB-BFE3-BB16A1A03D6C}" dt="2021-11-08T11:51:36.065" v="0" actId="2890"/>
        <pc:sldMkLst>
          <pc:docMk/>
          <pc:sldMk cId="2641487227" sldId="271"/>
        </pc:sldMkLst>
      </pc:sldChg>
      <pc:sldChg chg="addSp modSp new del">
        <pc:chgData name="Meyer Raphael (PAR-ES)" userId="79615dfe-ed48-4e74-a40f-4f7b034c1c27" providerId="ADAL" clId="{AD707207-28DB-44DB-BFE3-BB16A1A03D6C}" dt="2021-11-08T12:03:52.132" v="3" actId="47"/>
        <pc:sldMkLst>
          <pc:docMk/>
          <pc:sldMk cId="934294936" sldId="272"/>
        </pc:sldMkLst>
        <pc:graphicFrameChg chg="add mod">
          <ac:chgData name="Meyer Raphael (PAR-ES)" userId="79615dfe-ed48-4e74-a40f-4f7b034c1c27" providerId="ADAL" clId="{AD707207-28DB-44DB-BFE3-BB16A1A03D6C}" dt="2021-11-08T12:03:44.764" v="2"/>
          <ac:graphicFrameMkLst>
            <pc:docMk/>
            <pc:sldMk cId="934294936" sldId="272"/>
            <ac:graphicFrameMk id="6" creationId="{C4C775E3-3FF9-42C2-9363-3ECDA4A2A7C5}"/>
          </ac:graphicFrameMkLst>
        </pc:graphicFrame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0F694D6-807D-4949-9503-515E89DD48AB}"/>
    <pc:docChg chg="delSld">
      <pc:chgData name="Meyer Raphael (PAR-ES)" userId="79615dfe-ed48-4e74-a40f-4f7b034c1c27" providerId="ADAL" clId="{10F694D6-807D-4949-9503-515E89DD48AB}" dt="2022-03-09T15:20:13.407" v="0" actId="47"/>
      <pc:docMkLst>
        <pc:docMk/>
      </pc:docMkLst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1214120989" sldId="414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3878003729" sldId="415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2150380132" sldId="416"/>
        </pc:sldMkLst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7ED1063F-D2A9-43CF-91B5-C9448CFA5831}"/>
    <pc:docChg chg="modSld">
      <pc:chgData name="Meyer Raphael (PAR-ES)" userId="79615dfe-ed48-4e74-a40f-4f7b034c1c27" providerId="ADAL" clId="{7ED1063F-D2A9-43CF-91B5-C9448CFA5831}" dt="2021-11-23T10:02:31.376" v="3" actId="20577"/>
      <pc:docMkLst>
        <pc:docMk/>
      </pc:docMkLst>
      <pc:sldChg chg="modSp mod">
        <pc:chgData name="Meyer Raphael (PAR-ES)" userId="79615dfe-ed48-4e74-a40f-4f7b034c1c27" providerId="ADAL" clId="{7ED1063F-D2A9-43CF-91B5-C9448CFA5831}" dt="2021-11-23T10:02:31.376" v="3" actId="20577"/>
        <pc:sldMkLst>
          <pc:docMk/>
          <pc:sldMk cId="2641487227" sldId="271"/>
        </pc:sldMkLst>
        <pc:spChg chg="mod">
          <ac:chgData name="Meyer Raphael (PAR-ES)" userId="79615dfe-ed48-4e74-a40f-4f7b034c1c27" providerId="ADAL" clId="{7ED1063F-D2A9-43CF-91B5-C9448CFA5831}" dt="2021-11-23T10:02:31.376" v="3" actId="20577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5381B09C-6CC7-4512-B6AD-055336C6B097}"/>
    <pc:docChg chg="delSld">
      <pc:chgData name="Meyer Raphael (PAR-ES)" userId="79615dfe-ed48-4e74-a40f-4f7b034c1c27" providerId="ADAL" clId="{5381B09C-6CC7-4512-B6AD-055336C6B097}" dt="2021-11-08T11:32:43.108" v="0" actId="47"/>
      <pc:docMkLst>
        <pc:docMk/>
      </pc:docMkLst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963209825" sldId="272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065586608" sldId="273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405314246640004"/>
          <c:y val="7.3385318018543436E-2"/>
          <c:w val="0.6627477512207226"/>
          <c:h val="0.7463591981573930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M$2</c:f>
              <c:strCache>
                <c:ptCount val="1"/>
                <c:pt idx="0">
                  <c:v>Reisezüge</c:v>
                </c:pt>
              </c:strCache>
            </c:strRef>
          </c:tx>
          <c:spPr>
            <a:solidFill>
              <a:srgbClr val="BDBDBD"/>
            </a:solidFill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DBF1-4D28-9DD1-CD364BE911F1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19E-497F-A34D-97238F57BACC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119E-497F-A34D-97238F57BACC}"/>
              </c:ext>
            </c:extLst>
          </c:dPt>
          <c:cat>
            <c:strRef>
              <c:f>data!$L$3:$L$15</c:f>
              <c:strCache>
                <c:ptCount val="13"/>
                <c:pt idx="0">
                  <c:v>LG (LT)</c:v>
                </c:pt>
                <c:pt idx="1">
                  <c:v>CFR Infrastructură (RO)</c:v>
                </c:pt>
                <c:pt idx="2">
                  <c:v>FTA (FI)</c:v>
                </c:pt>
                <c:pt idx="3">
                  <c:v>ADIF (ES)</c:v>
                </c:pt>
                <c:pt idx="4">
                  <c:v>PKP (PL)</c:v>
                </c:pt>
                <c:pt idx="5">
                  <c:v>Trafikverket (SE)</c:v>
                </c:pt>
                <c:pt idx="6">
                  <c:v>SZDC (CZ)</c:v>
                </c:pt>
                <c:pt idx="7">
                  <c:v>FS (IT)</c:v>
                </c:pt>
                <c:pt idx="8">
                  <c:v>Infrabel (BE)</c:v>
                </c:pt>
                <c:pt idx="9">
                  <c:v>ÖBB (AT)</c:v>
                </c:pt>
                <c:pt idx="10">
                  <c:v>DB AG (DE)</c:v>
                </c:pt>
                <c:pt idx="11">
                  <c:v>ProRail (NL)</c:v>
                </c:pt>
                <c:pt idx="12">
                  <c:v>SBB (CH)</c:v>
                </c:pt>
              </c:strCache>
            </c:strRef>
          </c:cat>
          <c:val>
            <c:numRef>
              <c:f>data!$M$3:$M$15</c:f>
              <c:numCache>
                <c:formatCode>0.00</c:formatCode>
                <c:ptCount val="13"/>
                <c:pt idx="0">
                  <c:v>9.3142118826157994</c:v>
                </c:pt>
                <c:pt idx="1">
                  <c:v>16.3250504907116</c:v>
                </c:pt>
                <c:pt idx="2">
                  <c:v>16.087904558648599</c:v>
                </c:pt>
                <c:pt idx="3">
                  <c:v>26.963614637271998</c:v>
                </c:pt>
                <c:pt idx="4">
                  <c:v>26.795122685533599</c:v>
                </c:pt>
                <c:pt idx="5">
                  <c:v>35.948329827371303</c:v>
                </c:pt>
                <c:pt idx="6">
                  <c:v>40.885322477907202</c:v>
                </c:pt>
                <c:pt idx="7">
                  <c:v>50.249412561272401</c:v>
                </c:pt>
                <c:pt idx="8">
                  <c:v>62.830343658090698</c:v>
                </c:pt>
                <c:pt idx="9">
                  <c:v>66.839797872370497</c:v>
                </c:pt>
                <c:pt idx="10">
                  <c:v>69.770920003732897</c:v>
                </c:pt>
                <c:pt idx="11">
                  <c:v>131.36389886167601</c:v>
                </c:pt>
                <c:pt idx="12">
                  <c:v>137.32515003161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19E-497F-A34D-97238F57BACC}"/>
            </c:ext>
          </c:extLst>
        </c:ser>
        <c:ser>
          <c:idx val="1"/>
          <c:order val="1"/>
          <c:tx>
            <c:strRef>
              <c:f>data!$N$2</c:f>
              <c:strCache>
                <c:ptCount val="1"/>
                <c:pt idx="0">
                  <c:v>Güterzüge</c:v>
                </c:pt>
              </c:strCache>
            </c:strRef>
          </c:tx>
          <c:spPr>
            <a:solidFill>
              <a:srgbClr val="727272"/>
            </a:solidFill>
          </c:spPr>
          <c:invertIfNegative val="0"/>
          <c:cat>
            <c:strRef>
              <c:f>data!$L$3:$L$15</c:f>
              <c:strCache>
                <c:ptCount val="13"/>
                <c:pt idx="0">
                  <c:v>LG (LT)</c:v>
                </c:pt>
                <c:pt idx="1">
                  <c:v>CFR Infrastructură (RO)</c:v>
                </c:pt>
                <c:pt idx="2">
                  <c:v>FTA (FI)</c:v>
                </c:pt>
                <c:pt idx="3">
                  <c:v>ADIF (ES)</c:v>
                </c:pt>
                <c:pt idx="4">
                  <c:v>PKP (PL)</c:v>
                </c:pt>
                <c:pt idx="5">
                  <c:v>Trafikverket (SE)</c:v>
                </c:pt>
                <c:pt idx="6">
                  <c:v>SZDC (CZ)</c:v>
                </c:pt>
                <c:pt idx="7">
                  <c:v>FS (IT)</c:v>
                </c:pt>
                <c:pt idx="8">
                  <c:v>Infrabel (BE)</c:v>
                </c:pt>
                <c:pt idx="9">
                  <c:v>ÖBB (AT)</c:v>
                </c:pt>
                <c:pt idx="10">
                  <c:v>DB AG (DE)</c:v>
                </c:pt>
                <c:pt idx="11">
                  <c:v>ProRail (NL)</c:v>
                </c:pt>
                <c:pt idx="12">
                  <c:v>SBB (CH)</c:v>
                </c:pt>
              </c:strCache>
            </c:strRef>
          </c:cat>
          <c:val>
            <c:numRef>
              <c:f>data!$N$3:$N$15</c:f>
              <c:numCache>
                <c:formatCode>0.00</c:formatCode>
                <c:ptCount val="13"/>
                <c:pt idx="0">
                  <c:v>7.7223439719602798</c:v>
                </c:pt>
                <c:pt idx="1">
                  <c:v>5.8735699675439896</c:v>
                </c:pt>
                <c:pt idx="2">
                  <c:v>6.4581240422764097</c:v>
                </c:pt>
                <c:pt idx="3">
                  <c:v>4.4774258351661702</c:v>
                </c:pt>
                <c:pt idx="4">
                  <c:v>12.283459941328299</c:v>
                </c:pt>
                <c:pt idx="5">
                  <c:v>10.466847510391</c:v>
                </c:pt>
                <c:pt idx="6">
                  <c:v>10.920539159339</c:v>
                </c:pt>
                <c:pt idx="7">
                  <c:v>8.4886647819962793</c:v>
                </c:pt>
                <c:pt idx="8">
                  <c:v>7.1122803165939299</c:v>
                </c:pt>
                <c:pt idx="9">
                  <c:v>25.7655152161431</c:v>
                </c:pt>
                <c:pt idx="10">
                  <c:v>22.986586246359199</c:v>
                </c:pt>
                <c:pt idx="11">
                  <c:v>10.4132562738465</c:v>
                </c:pt>
                <c:pt idx="12">
                  <c:v>23.681387173181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19E-497F-A34D-97238F57BA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59135488"/>
        <c:axId val="59112832"/>
      </c:barChart>
      <c:valAx>
        <c:axId val="59112832"/>
        <c:scaling>
          <c:orientation val="minMax"/>
          <c:max val="200"/>
        </c:scaling>
        <c:delete val="0"/>
        <c:axPos val="b"/>
        <c:majorGridlines/>
        <c:numFmt formatCode="#,##0" sourceLinked="0"/>
        <c:majorTickMark val="out"/>
        <c:minorTickMark val="none"/>
        <c:tickLblPos val="nextTo"/>
        <c:spPr>
          <a:ln>
            <a:noFill/>
          </a:ln>
        </c:spPr>
        <c:crossAx val="59135488"/>
        <c:crosses val="autoZero"/>
        <c:crossBetween val="between"/>
        <c:majorUnit val="50"/>
      </c:valAx>
      <c:catAx>
        <c:axId val="591354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>
            <a:solidFill>
              <a:srgbClr val="5A5A5A"/>
            </a:solidFill>
          </a:ln>
        </c:spPr>
        <c:crossAx val="59112832"/>
        <c:crosses val="autoZero"/>
        <c:auto val="0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18638312256516215"/>
          <c:y val="0.88185825591518729"/>
          <c:w val="0.27623831443418145"/>
          <c:h val="5.4723184121952026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4564</cdr:x>
      <cdr:y>0.0141</cdr:y>
    </cdr:from>
    <cdr:to>
      <cdr:x>0.93381</cdr:x>
      <cdr:y>0.06574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10046767" y="63967"/>
          <a:ext cx="1047519" cy="23429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050" dirty="0"/>
            <a:t>Zugdichte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7BD3A32-863E-497D-9FA4-FE04E53F3B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7BD3A32-863E-497D-9FA4-FE04E53F3B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4EFEE514-0EE2-4596-96E1-488544687B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treckennetzbelastung in Europa im 2022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689365206"/>
              </p:ext>
            </p:extLst>
          </p:nvPr>
        </p:nvGraphicFramePr>
        <p:xfrm>
          <a:off x="1" y="1583795"/>
          <a:ext cx="11880668" cy="4537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51A102DA-4F4E-474F-9E16-1E7F70764A16}"/>
              </a:ext>
            </a:extLst>
          </p:cNvPr>
          <p:cNvSpPr txBox="1"/>
          <p:nvPr/>
        </p:nvSpPr>
        <p:spPr>
          <a:xfrm rot="16200000">
            <a:off x="9605908" y="3954664"/>
            <a:ext cx="394767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Quellen: UIC, </a:t>
            </a:r>
            <a:r>
              <a:rPr kumimoji="0" lang="de-CH" sz="8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ProRail</a:t>
            </a:r>
            <a:r>
              <a:rPr kumimoji="0" lang="de-CH" sz="8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00D4BB6A-0DD0-4B80-9845-0467B947A6BE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Durchschnittliche Anzahl Züge pro Strecke und Tag auf der Eisenbahninfrastruktur.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CB2EBD8C-0882-42C3-B5F5-BA01B7BFF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8228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0643150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ZMyL6UQqm685QJIi11w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46628A1-5B17-4F15-84F0-F68A39C1A6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3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Streckennetzbelastung in Europa im 2022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eckennetzbelastung in Europa im 2022.</dc:title>
  <dc:creator>Meyer Raphael (KOM-PGA-VSF)</dc:creator>
  <cp:lastModifiedBy>Stefan Weigel (PAR-EPS)</cp:lastModifiedBy>
  <cp:revision>24</cp:revision>
  <dcterms:created xsi:type="dcterms:W3CDTF">2020-09-30T11:00:09Z</dcterms:created>
  <dcterms:modified xsi:type="dcterms:W3CDTF">2024-02-28T12:08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